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8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6" r:id="rId37"/>
    <p:sldId id="4987" r:id="rId38"/>
    <p:sldId id="4988" r:id="rId39"/>
    <p:sldId id="4989" r:id="rId40"/>
    <p:sldId id="5007" r:id="rId41"/>
    <p:sldId id="4990" r:id="rId42"/>
    <p:sldId id="4985" r:id="rId43"/>
    <p:sldId id="4991" r:id="rId44"/>
    <p:sldId id="4992" r:id="rId45"/>
    <p:sldId id="4993" r:id="rId46"/>
    <p:sldId id="4994" r:id="rId47"/>
    <p:sldId id="4995" r:id="rId48"/>
    <p:sldId id="4996" r:id="rId49"/>
    <p:sldId id="4997" r:id="rId50"/>
    <p:sldId id="4998" r:id="rId51"/>
    <p:sldId id="5004" r:id="rId52"/>
    <p:sldId id="5005" r:id="rId53"/>
    <p:sldId id="4999" r:id="rId54"/>
    <p:sldId id="5000" r:id="rId55"/>
    <p:sldId id="5001" r:id="rId56"/>
    <p:sldId id="5002" r:id="rId57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83289" autoAdjust="0"/>
  </p:normalViewPr>
  <p:slideViewPr>
    <p:cSldViewPr snapToGrid="0">
      <p:cViewPr varScale="1">
        <p:scale>
          <a:sx n="93" d="100"/>
          <a:sy n="93" d="100"/>
        </p:scale>
        <p:origin x="77" y="2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1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After </a:t>
            </a:r>
            <a:r>
              <a:rPr lang="de-CH" dirty="0" err="1"/>
              <a:t>proces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tor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ist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Such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onc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oing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6778148" y="1595572"/>
            <a:ext cx="51996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1600" dirty="0"/>
              <a:t>Pluvia è una parola latina che significa piogg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….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6778149" y="3009950"/>
            <a:ext cx="46071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=&gt;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6DC0C47D-3706-950F-F877-C2105390C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BCA27D7-0FDA-B77E-C696-CD5288B4A6EC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119BF38-AB6E-5617-DE2F-6BEDC7AACC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105337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6A66A38-AB7F-4CAF-FBF4-F1E6C23C5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5456484" y="3243397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105337" cy="4647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0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0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199830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5E068F4-958D-B5AF-5CB1-E43CF65EC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87" y="4733959"/>
            <a:ext cx="1041944" cy="104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019AF19-4113-BD46-DE25-7914C42B7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918233" y="2710071"/>
            <a:ext cx="1083596" cy="99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p:transition spd="slow">
    <p:wipe dir="d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4619649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262" indent="0"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de-CH" sz="1800" dirty="0"/>
          </a:p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2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06324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/>
              <a:t>G-</a:t>
            </a: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Evaluat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prompt </a:t>
            </a: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step</a:t>
            </a:r>
            <a:r>
              <a:rPr lang="de-CH" sz="1800" dirty="0"/>
              <a:t> 2</a:t>
            </a:r>
            <a:endParaRPr lang="en-CH" sz="1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172E97-8371-6DDA-DB44-B3AB920DAC59}"/>
              </a:ext>
            </a:extLst>
          </p:cNvPr>
          <p:cNvSpPr txBox="1"/>
          <p:nvPr/>
        </p:nvSpPr>
        <p:spPr>
          <a:xfrm>
            <a:off x="8602060" y="6274075"/>
            <a:ext cx="34349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dirty="0"/>
              <a:t>https://arxiv.org/abs/2303.16634</a:t>
            </a:r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A4A29A8-1F86-2FBA-A452-2EFA73E17879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5870299-03DB-882B-D770-E0CE8BB61B37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1148C4-E16C-8E46-7F28-1D4B7FFA991D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F329B8E-7DF7-7658-62B2-7C6B398F0CA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FE9F47-11A1-E27B-8C4E-485845760082}"/>
              </a:ext>
            </a:extLst>
          </p:cNvPr>
          <p:cNvSpPr txBox="1"/>
          <p:nvPr/>
        </p:nvSpPr>
        <p:spPr>
          <a:xfrm>
            <a:off x="3976078" y="6373792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Faithfulness</a:t>
            </a:r>
            <a:endParaRPr lang="en-CH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99B486-02CA-8CEB-4AAB-A10DEA6287C3}"/>
              </a:ext>
            </a:extLst>
          </p:cNvPr>
          <p:cNvSpPr txBox="1"/>
          <p:nvPr/>
        </p:nvSpPr>
        <p:spPr>
          <a:xfrm>
            <a:off x="1272499" y="3489254"/>
            <a:ext cx="1462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200" dirty="0" err="1"/>
              <a:t>Answer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de-CH" sz="1200" dirty="0"/>
          </a:p>
          <a:p>
            <a:pPr algn="r"/>
            <a:r>
              <a:rPr lang="de-CH" sz="1200" dirty="0" err="1"/>
              <a:t>Conciseness</a:t>
            </a:r>
            <a:endParaRPr lang="en-CH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55FD94-F54A-9094-4381-2E831809FD28}"/>
              </a:ext>
            </a:extLst>
          </p:cNvPr>
          <p:cNvSpPr txBox="1"/>
          <p:nvPr/>
        </p:nvSpPr>
        <p:spPr>
          <a:xfrm>
            <a:off x="6136478" y="3689017"/>
            <a:ext cx="1683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200" dirty="0" err="1"/>
              <a:t>Contextual</a:t>
            </a:r>
            <a:r>
              <a:rPr lang="de-CH" sz="1200" dirty="0"/>
              <a:t> </a:t>
            </a:r>
            <a:r>
              <a:rPr lang="de-CH" sz="1200" dirty="0" err="1"/>
              <a:t>Relevance</a:t>
            </a:r>
            <a:endParaRPr lang="en-CH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9F8C713-67B3-DF1E-85D5-4848D4F9E9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6736879" y="3118502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08E4C41-F6D9-1762-BD64-2400F5EE12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4303115" y="5773171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96EAAC6-0F49-E11C-9C66-3EC276742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b="25804"/>
          <a:stretch/>
        </p:blipFill>
        <p:spPr bwMode="auto">
          <a:xfrm>
            <a:off x="1886955" y="2938667"/>
            <a:ext cx="566308" cy="52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6</Words>
  <Application>Microsoft Office PowerPoint</Application>
  <PresentationFormat>Widescreen</PresentationFormat>
  <Paragraphs>628</Paragraphs>
  <Slides>56</Slides>
  <Notes>46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7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72</cp:revision>
  <dcterms:created xsi:type="dcterms:W3CDTF">2019-10-15T07:31:09Z</dcterms:created>
  <dcterms:modified xsi:type="dcterms:W3CDTF">2024-08-31T08:08:39Z</dcterms:modified>
</cp:coreProperties>
</file>